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18"/>
  </p:notesMasterIdLst>
  <p:handoutMasterIdLst>
    <p:handoutMasterId r:id="rId19"/>
  </p:handoutMasterIdLst>
  <p:sldIdLst>
    <p:sldId id="256" r:id="rId6"/>
    <p:sldId id="458" r:id="rId7"/>
    <p:sldId id="464" r:id="rId8"/>
    <p:sldId id="321" r:id="rId9"/>
    <p:sldId id="469" r:id="rId10"/>
    <p:sldId id="459" r:id="rId11"/>
    <p:sldId id="465" r:id="rId12"/>
    <p:sldId id="466" r:id="rId13"/>
    <p:sldId id="470" r:id="rId14"/>
    <p:sldId id="467" r:id="rId15"/>
    <p:sldId id="468" r:id="rId16"/>
    <p:sldId id="363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1pPr>
    <a:lvl2pPr marL="540274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2pPr>
    <a:lvl3pPr marL="108055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3pPr>
    <a:lvl4pPr marL="1620825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4pPr>
    <a:lvl5pPr marL="2161099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5pPr>
    <a:lvl6pPr marL="2701375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6pPr>
    <a:lvl7pPr marL="324165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7pPr>
    <a:lvl8pPr marL="3781925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8pPr>
    <a:lvl9pPr marL="432220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 Wu" initials="DW" lastIdx="2" clrIdx="0">
    <p:extLst>
      <p:ext uri="{19B8F6BF-5375-455C-9EA6-DF929625EA0E}">
        <p15:presenceInfo xmlns:p15="http://schemas.microsoft.com/office/powerpoint/2012/main" userId="ac0f31cbe9b5d117" providerId="Windows Live"/>
      </p:ext>
    </p:extLst>
  </p:cmAuthor>
  <p:cmAuthor id="2" name="Alvin wang" initials="Aw" lastIdx="4" clrIdx="1">
    <p:extLst>
      <p:ext uri="{19B8F6BF-5375-455C-9EA6-DF929625EA0E}">
        <p15:presenceInfo xmlns:p15="http://schemas.microsoft.com/office/powerpoint/2012/main" userId="1e8ff156e54dfd6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F2F2F2"/>
    <a:srgbClr val="F9EDEF"/>
    <a:srgbClr val="FFCCCC"/>
    <a:srgbClr val="E4AEB7"/>
    <a:srgbClr val="B2B2B2"/>
    <a:srgbClr val="D8ECDB"/>
    <a:srgbClr val="CFAFE7"/>
    <a:srgbClr val="B686DA"/>
    <a:srgbClr val="DC94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737" autoAdjust="0"/>
    <p:restoredTop sz="92000" autoAdjust="0"/>
  </p:normalViewPr>
  <p:slideViewPr>
    <p:cSldViewPr snapToGrid="0" snapToObjects="1" showGuides="1">
      <p:cViewPr varScale="1">
        <p:scale>
          <a:sx n="144" d="100"/>
          <a:sy n="144" d="100"/>
        </p:scale>
        <p:origin x="840" y="200"/>
      </p:cViewPr>
      <p:guideLst>
        <p:guide orient="horz" pos="2160"/>
        <p:guide pos="3841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1630" y="-5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3F0141-3732-4D57-B2DC-D3AD93A454E7}" type="datetimeFigureOut">
              <a:rPr lang="zh-CN" altLang="en-US" smtClean="0">
                <a:ea typeface="微软雅黑" panose="020B0503020204020204" pitchFamily="34" charset="-122"/>
              </a:rPr>
              <a:pPr/>
              <a:t>2021/12/25</a:t>
            </a:fld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AD7D32-51B5-437C-9C66-E29080E9E54A}" type="slidenum">
              <a:rPr lang="zh-CN" altLang="en-US" smtClean="0">
                <a:ea typeface="微软雅黑" panose="020B0503020204020204" pitchFamily="34" charset="-122"/>
              </a:rPr>
              <a:pPr/>
              <a:t>‹#›</a:t>
            </a:fld>
            <a:endParaRPr lang="zh-CN" altLang="en-US" dirty="0"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265550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12/25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417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1pPr>
    <a:lvl2pPr marL="540274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2pPr>
    <a:lvl3pPr marL="108055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3pPr>
    <a:lvl4pPr marL="1620825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4pPr>
    <a:lvl5pPr marL="2161099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5pPr>
    <a:lvl6pPr marL="2701375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6pPr>
    <a:lvl7pPr marL="324165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7pPr>
    <a:lvl8pPr marL="3781925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8pPr>
    <a:lvl9pPr marL="432220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079720"/>
              </p:ext>
            </p:extLst>
          </p:nvPr>
        </p:nvGraphicFramePr>
        <p:xfrm>
          <a:off x="2117" y="2121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39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21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3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5060956"/>
            <a:ext cx="12192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08057" tIns="54029" rIns="108057" bIns="54029" anchor="ctr"/>
          <a:lstStyle/>
          <a:p>
            <a:endParaRPr lang="en-US" sz="2133" noProof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49ADB0A-0B66-4CB2-B840-465651EE68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0706" y="122044"/>
            <a:ext cx="672353" cy="75935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188268"/>
              </p:ext>
            </p:extLst>
          </p:nvPr>
        </p:nvGraphicFramePr>
        <p:xfrm>
          <a:off x="2117" y="1907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3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907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280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8" cy="4590288"/>
          </a:xfrm>
        </p:spPr>
        <p:txBody>
          <a:bodyPr lIns="0" tIns="0" rIns="0" bIns="0">
            <a:normAutofit/>
          </a:bodyPr>
          <a:lstStyle>
            <a:lvl1pPr>
              <a:spcBef>
                <a:spcPts val="453"/>
              </a:spcBef>
              <a:defRPr sz="1800"/>
            </a:lvl1pPr>
            <a:lvl2pPr marL="540274" indent="-272265">
              <a:spcBef>
                <a:spcPts val="453"/>
              </a:spcBef>
              <a:defRPr sz="1800"/>
            </a:lvl2pPr>
            <a:lvl3pPr marL="1080550" indent="-272265">
              <a:spcBef>
                <a:spcPts val="453"/>
              </a:spcBef>
              <a:defRPr sz="1800"/>
            </a:lvl3pPr>
            <a:lvl4pPr marL="1625079" indent="-276518">
              <a:spcBef>
                <a:spcPts val="453"/>
              </a:spcBef>
              <a:defRPr sz="1800"/>
            </a:lvl4pPr>
            <a:lvl5pPr marL="2433364" indent="-272265">
              <a:spcBef>
                <a:spcPts val="453"/>
              </a:spcBef>
              <a:defRPr sz="180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2283933"/>
              </p:ext>
            </p:extLst>
          </p:nvPr>
        </p:nvGraphicFramePr>
        <p:xfrm>
          <a:off x="2117" y="2121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2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21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6913234"/>
              </p:ext>
            </p:extLst>
          </p:nvPr>
        </p:nvGraphicFramePr>
        <p:xfrm>
          <a:off x="1953" y="1594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3" y="1594"/>
                        <a:ext cx="195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57" tIns="106356" rIns="108057" bIns="106356" rtlCol="0" anchor="ctr" anchorCtr="0"/>
          <a:lstStyle/>
          <a:p>
            <a:pPr algn="ctr"/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516558" y="1738316"/>
            <a:ext cx="7158892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07547766"/>
              </p:ext>
            </p:extLst>
          </p:nvPr>
        </p:nvGraphicFramePr>
        <p:xfrm>
          <a:off x="1953" y="1594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62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3" y="1594"/>
                        <a:ext cx="195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1600"/>
          </a:xfrm>
          <a:prstGeom prst="rect">
            <a:avLst/>
          </a:prstGeom>
        </p:spPr>
        <p:txBody>
          <a:bodyPr vert="horz" lIns="0" tIns="40522" rIns="0" bIns="40522" rtlCol="0" anchor="ctr" anchorCtr="0">
            <a:noAutofit/>
          </a:bodyPr>
          <a:lstStyle/>
          <a:p>
            <a:r>
              <a:rPr lang="zh-CN" altLang="en-US" noProof="0" dirty="0"/>
              <a:t>单击此处编辑母版标题样式</a:t>
            </a:r>
            <a:endParaRPr lang="en-US" noProof="0" dirty="0"/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12192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 lIns="108057" tIns="54029" rIns="108057" bIns="54029"/>
          <a:lstStyle/>
          <a:p>
            <a:endParaRPr lang="en-US" sz="2133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395940" y="6661020"/>
            <a:ext cx="234461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1080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1080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1067" dirty="0">
              <a:latin typeface="Arial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669945" y="6690180"/>
            <a:ext cx="3824766" cy="12311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indent="0" algn="ctr" defTabSz="10805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1200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Confidential – do not redistribute</a:t>
            </a:r>
            <a:r>
              <a:rPr lang="en-US" sz="800" b="1" kern="1200" baseline="0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 without written permission from Cloud To Go</a:t>
            </a:r>
            <a:endParaRPr lang="en-US" sz="800" b="1" noProof="0" dirty="0">
              <a:solidFill>
                <a:schemeClr val="bg2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9" name="Rectangle 2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1728896" y="6690180"/>
            <a:ext cx="1492396" cy="12311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indent="0" algn="ctr" defTabSz="10805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Copyright © 2020</a:t>
            </a:r>
            <a:r>
              <a:rPr lang="en-US" sz="800" b="1" baseline="0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Cloud To Go</a:t>
            </a:r>
            <a:endParaRPr lang="en-US" sz="800" b="1" noProof="0" dirty="0">
              <a:solidFill>
                <a:schemeClr val="bg2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1880A4E-BE0D-4BA2-AB0B-CE589DF2BC95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05" y="6420269"/>
            <a:ext cx="347994" cy="39302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4" r:id="rId3"/>
    <p:sldLayoutId id="2147483655" r:id="rId4"/>
    <p:sldLayoutId id="2147483660" r:id="rId5"/>
  </p:sldLayoutIdLst>
  <p:hf hdr="0" ftr="0" dt="0"/>
  <p:txStyles>
    <p:titleStyle>
      <a:lvl1pPr algn="l" defTabSz="108055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80550" rtl="0" eaLnBrk="1" latinLnBrk="0" hangingPunct="1">
        <a:spcBef>
          <a:spcPts val="453"/>
        </a:spcBef>
        <a:buFontTx/>
        <a:buNone/>
        <a:defRPr sz="186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40274" indent="-270137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080550" indent="-270137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26454" indent="-275765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433114" indent="-272015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971512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11787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52063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592337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0274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055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20825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61099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01375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4165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781925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2220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tif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if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iff"/><Relationship Id="rId2" Type="http://schemas.openxmlformats.org/officeDocument/2006/relationships/image" Target="../media/image15.tif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>
            <a:extLst>
              <a:ext uri="{FF2B5EF4-FFF2-40B4-BE49-F238E27FC236}">
                <a16:creationId xmlns:a16="http://schemas.microsoft.com/office/drawing/2014/main" id="{1537D549-1D5B-4BDD-AD6F-98E2614A52A1}"/>
              </a:ext>
            </a:extLst>
          </p:cNvPr>
          <p:cNvSpPr txBox="1"/>
          <p:nvPr/>
        </p:nvSpPr>
        <p:spPr>
          <a:xfrm>
            <a:off x="4024776" y="2296897"/>
            <a:ext cx="4000198" cy="79731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r"/>
            <a:r>
              <a:rPr lang="en-US" altLang="zh-CN" sz="40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IPFS</a:t>
            </a:r>
            <a:r>
              <a:rPr lang="zh-CN" altLang="en-US" sz="40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 分布式指南</a:t>
            </a:r>
            <a:endParaRPr lang="zh-CN" altLang="en-US" sz="28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7BBE73-1CAF-4127-B4BD-1E218A0DE061}"/>
              </a:ext>
            </a:extLst>
          </p:cNvPr>
          <p:cNvSpPr txBox="1"/>
          <p:nvPr/>
        </p:nvSpPr>
        <p:spPr>
          <a:xfrm>
            <a:off x="4149899" y="5669422"/>
            <a:ext cx="3875075" cy="551088"/>
          </a:xfrm>
          <a:prstGeom prst="rect">
            <a:avLst/>
          </a:prstGeom>
          <a:ln w="12700">
            <a:miter lim="400000"/>
          </a:ln>
        </p:spPr>
        <p:txBody>
          <a:bodyPr wrap="none" lIns="89999" tIns="89999" rIns="89999" bIns="89999">
            <a:spAutoFit/>
          </a:bodyPr>
          <a:lstStyle>
            <a:lvl1pPr algn="ctr">
              <a:defRPr sz="3200" b="1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微软雅黑" panose="020B0503020204020204" charset="-122"/>
              </a:defRPr>
            </a:lvl1pPr>
          </a:lstStyle>
          <a:p>
            <a:r>
              <a:rPr sz="2400" b="0" dirty="0"/>
              <a:t>深圳行云创新科技有限公司</a:t>
            </a:r>
          </a:p>
        </p:txBody>
      </p:sp>
    </p:spTree>
    <p:extLst>
      <p:ext uri="{BB962C8B-B14F-4D97-AF65-F5344CB8AC3E}">
        <p14:creationId xmlns:p14="http://schemas.microsoft.com/office/powerpoint/2010/main" val="23571066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占位符 6">
            <a:extLst>
              <a:ext uri="{FF2B5EF4-FFF2-40B4-BE49-F238E27FC236}">
                <a16:creationId xmlns:a16="http://schemas.microsoft.com/office/drawing/2014/main" id="{063E16D1-B89A-094F-81C9-7038029C58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8" cy="4590288"/>
          </a:xfrm>
        </p:spPr>
        <p:txBody>
          <a:bodyPr/>
          <a:lstStyle/>
          <a:p>
            <a:r>
              <a:rPr lang="zh-CN" altLang="en-US" b="0" dirty="0"/>
              <a:t>基于</a:t>
            </a:r>
            <a:r>
              <a:rPr lang="en-US" altLang="zh-CN" b="0" dirty="0"/>
              <a:t>git</a:t>
            </a:r>
            <a:r>
              <a:rPr lang="zh-CN" altLang="en-US" b="0" dirty="0"/>
              <a:t> 的分布式版本管理</a:t>
            </a:r>
            <a:endParaRPr lang="en-US" altLang="zh-CN" b="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PFS</a:t>
            </a:r>
            <a:r>
              <a:rPr lang="zh-CN" altLang="en-US" dirty="0"/>
              <a:t> 版本管理</a:t>
            </a:r>
            <a:endParaRPr lang="zh-CN" altLang="en-US" sz="28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084B9EF-EF1D-6341-A044-8B00FFEFE8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1008" y="2590713"/>
            <a:ext cx="7490791" cy="284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0899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文本占位符 6">
            <a:extLst>
              <a:ext uri="{FF2B5EF4-FFF2-40B4-BE49-F238E27FC236}">
                <a16:creationId xmlns:a16="http://schemas.microsoft.com/office/drawing/2014/main" id="{3A20F17B-2036-5641-9E39-36EC5ED258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8" cy="4590288"/>
          </a:xfrm>
        </p:spPr>
        <p:txBody>
          <a:bodyPr/>
          <a:lstStyle/>
          <a:p>
            <a:r>
              <a:rPr lang="zh-CN" altLang="en-US" b="0" dirty="0"/>
              <a:t>所有节点都不在线怎么办？</a:t>
            </a:r>
            <a:endParaRPr lang="en-US" altLang="zh-CN" b="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IPFS</a:t>
            </a:r>
            <a:r>
              <a:rPr lang="zh-CN" altLang="en-US" dirty="0"/>
              <a:t> 激励机制</a:t>
            </a:r>
            <a:endParaRPr lang="zh-CN" altLang="en-US" sz="2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4C71853-4DA2-B84D-8685-BF2EE3178B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1248" y="1980784"/>
            <a:ext cx="7883398" cy="3373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941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47403" y="2545237"/>
            <a:ext cx="3565400" cy="1412864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zh-CN" altLang="en-US" sz="8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谢 谢！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11612" y="5236611"/>
            <a:ext cx="3000693" cy="101275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联系我们：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rketing‍@cloudtogo.cn</a:t>
            </a:r>
          </a:p>
          <a:p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0755-86955652</a:t>
            </a:r>
            <a:endParaRPr lang="zh-CN" altLang="en-US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3709" y="4846320"/>
            <a:ext cx="1785864" cy="17858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8508" y="4845269"/>
            <a:ext cx="1782104" cy="1785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1447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62BC8E-D4E5-48DC-989D-3FF97AD89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目录</a:t>
            </a:r>
          </a:p>
        </p:txBody>
      </p:sp>
      <p:sp>
        <p:nvSpPr>
          <p:cNvPr id="4" name="文本占位符 6">
            <a:extLst>
              <a:ext uri="{FF2B5EF4-FFF2-40B4-BE49-F238E27FC236}">
                <a16:creationId xmlns:a16="http://schemas.microsoft.com/office/drawing/2014/main" id="{5BBB26D4-C6C1-784F-BBD2-6F0038C62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8" cy="459028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常见的存储模型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什么是</a:t>
            </a:r>
            <a:r>
              <a:rPr lang="en-US" altLang="zh-CN" dirty="0"/>
              <a:t>IPF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为什么需要</a:t>
            </a:r>
            <a:r>
              <a:rPr lang="en-US" altLang="zh-CN" dirty="0"/>
              <a:t>IPF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内容寻址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IPFS</a:t>
            </a:r>
            <a:r>
              <a:rPr lang="zh-CN" altLang="en-US" dirty="0"/>
              <a:t> 存储模型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IPFS</a:t>
            </a:r>
            <a:r>
              <a:rPr lang="zh-CN" altLang="en-US"/>
              <a:t> 版本管理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506134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常见存储模型</a:t>
            </a:r>
            <a:endParaRPr lang="zh-CN" altLang="en-US" sz="28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695E0E2-834D-4941-A4EC-7A7038ACEB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122" y="1382465"/>
            <a:ext cx="4287601" cy="229796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1955F11-DB5E-2947-A842-9DE8E1DCDC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303507"/>
            <a:ext cx="5273209" cy="291762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4AFF878-9E71-D442-943E-1A0731F7A4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05348" y="3707249"/>
            <a:ext cx="5123618" cy="22979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CEFB0B1-1898-FB47-BB8F-A44656A079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10577" y="3624639"/>
            <a:ext cx="3884798" cy="2463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662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什么是</a:t>
            </a:r>
            <a:r>
              <a:rPr lang="en-US" altLang="zh-CN" dirty="0"/>
              <a:t>IPFS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内容寻址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版本控制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P2P</a:t>
            </a:r>
            <a:r>
              <a:rPr lang="zh-CN" altLang="en-US" dirty="0"/>
              <a:t> 分布式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技术实现：</a:t>
            </a:r>
            <a:r>
              <a:rPr lang="en-US" altLang="zh-CN" dirty="0"/>
              <a:t>DHT</a:t>
            </a:r>
            <a:r>
              <a:rPr lang="zh-CN" altLang="en-US" dirty="0"/>
              <a:t>、</a:t>
            </a:r>
            <a:r>
              <a:rPr lang="en-US" altLang="zh-CN" dirty="0"/>
              <a:t>Git</a:t>
            </a:r>
            <a:r>
              <a:rPr lang="zh-CN" altLang="en-US" dirty="0"/>
              <a:t>、</a:t>
            </a:r>
            <a:r>
              <a:rPr lang="en-US" altLang="zh-CN" dirty="0"/>
              <a:t>BitTorrent</a:t>
            </a:r>
            <a:r>
              <a:rPr lang="zh-CN" altLang="en-US" dirty="0"/>
              <a:t>等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不可篡改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89258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什么是</a:t>
            </a:r>
            <a:r>
              <a:rPr lang="en-US" altLang="zh-CN" dirty="0"/>
              <a:t>IPFS</a:t>
            </a:r>
            <a:endParaRPr lang="zh-CN" altLang="en-US" sz="2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5E0B9EB-C19E-3F4D-8019-7FDB1F38B0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2139" y="2136899"/>
            <a:ext cx="1959840" cy="159389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C6FB413-B7AE-5749-8D86-B80F253613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4533" y="2682835"/>
            <a:ext cx="267606" cy="3568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B8F4B58-3771-3D4E-AEEE-9674575FEE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6779" y="2246984"/>
            <a:ext cx="1684400" cy="1585318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52A920B-9600-4E48-B1D8-5D15BC4E19EF}"/>
              </a:ext>
            </a:extLst>
          </p:cNvPr>
          <p:cNvCxnSpPr>
            <a:stCxn id="4" idx="3"/>
            <a:endCxn id="6" idx="1"/>
          </p:cNvCxnSpPr>
          <p:nvPr/>
        </p:nvCxnSpPr>
        <p:spPr>
          <a:xfrm>
            <a:off x="3811979" y="2933847"/>
            <a:ext cx="3344800" cy="105796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45F6F0F-16B7-7E4A-B95F-F99A98C8D895}"/>
              </a:ext>
            </a:extLst>
          </p:cNvPr>
          <p:cNvSpPr txBox="1"/>
          <p:nvPr/>
        </p:nvSpPr>
        <p:spPr>
          <a:xfrm>
            <a:off x="4776034" y="2536645"/>
            <a:ext cx="995785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~24</a:t>
            </a:r>
            <a:r>
              <a:rPr lang="zh-CN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分钟</a:t>
            </a: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U-Turn Arrow 25">
            <a:extLst>
              <a:ext uri="{FF2B5EF4-FFF2-40B4-BE49-F238E27FC236}">
                <a16:creationId xmlns:a16="http://schemas.microsoft.com/office/drawing/2014/main" id="{D0B33A03-596E-F347-BCAA-8319BFC24C17}"/>
              </a:ext>
            </a:extLst>
          </p:cNvPr>
          <p:cNvSpPr/>
          <p:nvPr/>
        </p:nvSpPr>
        <p:spPr>
          <a:xfrm>
            <a:off x="3099460" y="2136899"/>
            <a:ext cx="4845132" cy="110085"/>
          </a:xfrm>
          <a:prstGeom prst="uturnArrow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5ECBD6-0B28-8041-AC71-7AD235D105D9}"/>
              </a:ext>
            </a:extLst>
          </p:cNvPr>
          <p:cNvSpPr txBox="1"/>
          <p:nvPr/>
        </p:nvSpPr>
        <p:spPr>
          <a:xfrm>
            <a:off x="4437976" y="1767295"/>
            <a:ext cx="1242648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zh-CN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请求打开</a:t>
            </a:r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iki</a:t>
            </a: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U-Turn Arrow 30">
            <a:extLst>
              <a:ext uri="{FF2B5EF4-FFF2-40B4-BE49-F238E27FC236}">
                <a16:creationId xmlns:a16="http://schemas.microsoft.com/office/drawing/2014/main" id="{9F41A6F6-612E-6B42-85C6-A85E4B10C65E}"/>
              </a:ext>
            </a:extLst>
          </p:cNvPr>
          <p:cNvSpPr/>
          <p:nvPr/>
        </p:nvSpPr>
        <p:spPr>
          <a:xfrm rot="10800000">
            <a:off x="2832059" y="3765059"/>
            <a:ext cx="5177641" cy="275212"/>
          </a:xfrm>
          <a:prstGeom prst="uturnArrow">
            <a:avLst>
              <a:gd name="adj1" fmla="val 25000"/>
              <a:gd name="adj2" fmla="val 25000"/>
              <a:gd name="adj3" fmla="val 25000"/>
              <a:gd name="adj4" fmla="val 43750"/>
              <a:gd name="adj5" fmla="val 100000"/>
            </a:avLst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4CF58BA-E9D5-AC4B-AFFD-74500D8EFBC0}"/>
              </a:ext>
            </a:extLst>
          </p:cNvPr>
          <p:cNvSpPr txBox="1"/>
          <p:nvPr/>
        </p:nvSpPr>
        <p:spPr>
          <a:xfrm>
            <a:off x="4596047" y="4160517"/>
            <a:ext cx="933268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iki</a:t>
            </a:r>
            <a:r>
              <a:rPr lang="zh-CN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网站</a:t>
            </a: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2745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CN" dirty="0"/>
              <a:t>为</a:t>
            </a:r>
            <a:r>
              <a:rPr lang="zh-CN" altLang="en-US" dirty="0"/>
              <a:t>什么需要</a:t>
            </a:r>
            <a:r>
              <a:rPr lang="en-US" altLang="zh-CN" dirty="0"/>
              <a:t>IPFS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dirty="0">
                <a:latin typeface="FangSong" panose="02010609060101010101" pitchFamily="49" charset="-122"/>
                <a:ea typeface="FangSong" panose="02010609060101010101" pitchFamily="49" charset="-122"/>
              </a:rPr>
              <a:t>分发</a:t>
            </a:r>
            <a:r>
              <a:rPr lang="en-US" altLang="zh-CN" b="0" dirty="0">
                <a:latin typeface="FangSong" panose="02010609060101010101" pitchFamily="49" charset="-122"/>
                <a:ea typeface="FangSong" panose="02010609060101010101" pitchFamily="49" charset="-122"/>
              </a:rPr>
              <a:t>PB</a:t>
            </a:r>
            <a:r>
              <a:rPr lang="zh-CN" altLang="en-US" b="0" dirty="0">
                <a:latin typeface="FangSong" panose="02010609060101010101" pitchFamily="49" charset="-122"/>
                <a:ea typeface="FangSong" panose="02010609060101010101" pitchFamily="49" charset="-122"/>
              </a:rPr>
              <a:t>级数据</a:t>
            </a:r>
            <a:endParaRPr lang="en-US" altLang="zh-CN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dirty="0">
                <a:latin typeface="FangSong" panose="02010609060101010101" pitchFamily="49" charset="-122"/>
                <a:ea typeface="FangSong" panose="02010609060101010101" pitchFamily="49" charset="-122"/>
              </a:rPr>
              <a:t>基于大数据的跨组织计算</a:t>
            </a:r>
            <a:endParaRPr lang="en-US" altLang="zh-CN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dirty="0">
                <a:latin typeface="FangSong" panose="02010609060101010101" pitchFamily="49" charset="-122"/>
                <a:ea typeface="FangSong" panose="02010609060101010101" pitchFamily="49" charset="-122"/>
              </a:rPr>
              <a:t>高清实时媒体流</a:t>
            </a:r>
            <a:endParaRPr lang="en-US" altLang="zh-CN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dirty="0">
                <a:latin typeface="FangSong" panose="02010609060101010101" pitchFamily="49" charset="-122"/>
                <a:ea typeface="FangSong" panose="02010609060101010101" pitchFamily="49" charset="-122"/>
              </a:rPr>
              <a:t>防止重要数据文件丢失</a:t>
            </a:r>
            <a:endParaRPr lang="en-US" altLang="zh-CN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dirty="0">
                <a:latin typeface="FangSong" panose="02010609060101010101" pitchFamily="49" charset="-122"/>
                <a:ea typeface="FangSong" panose="02010609060101010101" pitchFamily="49" charset="-122"/>
              </a:rPr>
              <a:t>海量数据的同步与版本管理</a:t>
            </a:r>
            <a:endParaRPr lang="en-US" altLang="zh-CN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114074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文本占位符 6">
            <a:extLst>
              <a:ext uri="{FF2B5EF4-FFF2-40B4-BE49-F238E27FC236}">
                <a16:creationId xmlns:a16="http://schemas.microsoft.com/office/drawing/2014/main" id="{30BEF6A4-1C0E-6640-BFC9-BE615178B8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2707" y="1127464"/>
            <a:ext cx="11074088" cy="4971584"/>
          </a:xfrm>
        </p:spPr>
        <p:txBody>
          <a:bodyPr/>
          <a:lstStyle/>
          <a:p>
            <a:r>
              <a:rPr lang="zh-CN" altLang="en-US" b="0" dirty="0"/>
              <a:t>什么是基于地址寻址？</a:t>
            </a:r>
            <a:endParaRPr lang="en-US" altLang="zh-CN" b="0" dirty="0"/>
          </a:p>
          <a:p>
            <a:r>
              <a:rPr lang="zh-CN" altLang="en-US" b="0" dirty="0"/>
              <a:t>什么是基于内容寻址？</a:t>
            </a:r>
            <a:endParaRPr lang="en-US" altLang="zh-CN" b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4ABFC9-6851-BC4A-A16C-4481F3985A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7396" y="1730074"/>
            <a:ext cx="4414209" cy="2443696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内容寻址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8992C61-EB16-E145-A2F1-3E9106987C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4640" y="1863662"/>
            <a:ext cx="6969195" cy="3866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360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PFS</a:t>
            </a:r>
            <a:r>
              <a:rPr lang="zh-CN" altLang="en-US" dirty="0"/>
              <a:t> 如何存储（一）</a:t>
            </a:r>
            <a:endParaRPr lang="zh-CN" altLang="en-US" sz="28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F2D6D3-5A2C-9442-8ABC-8EBD8C1721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1470" y="1475330"/>
            <a:ext cx="4934500" cy="23015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E7E94F2-C377-324D-911F-D78D54D5B8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2661" y="1999787"/>
            <a:ext cx="8365435" cy="4194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88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PFS</a:t>
            </a:r>
            <a:r>
              <a:rPr lang="zh-CN" altLang="en-US" dirty="0"/>
              <a:t> 如何存储（二）</a:t>
            </a:r>
            <a:endParaRPr lang="zh-CN" altLang="en-US" sz="28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50DEF2D-C53B-5D4E-9555-25FB020C06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708" y="1674522"/>
            <a:ext cx="4345989" cy="4500513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64176CDF-462E-4D46-8749-E520D084E4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0256" y="1470990"/>
            <a:ext cx="7175460" cy="4333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825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lt;root reqver=&quot;23045&quot;&gt;&lt;version val=&quot;2417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02&quot; g=&quot;6E&quot; b=&quot;4A&quot;/&gt;&lt;m_nBrightness val=&quot;0&quot;/&gt;&lt;/elem&gt;&lt;elem m_fUsage=&quot;9.00000000000000020000E-001&quot;&gt;&lt;m_msothmcolidx val=&quot;0&quot;/&gt;&lt;m_rgb r=&quot;02&quot; g=&quot;75&quot; b=&quot;4A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公共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D2F14E-91D0-46BE-AF0B-03FA64177EC7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purl.org/dc/dcmitype/"/>
    <ds:schemaRef ds:uri="http://www.w3.org/XML/1998/namespace"/>
    <ds:schemaRef ds:uri="http://schemas.microsoft.com/office/2006/documentManagement/typ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P</Template>
  <TotalTime>33024</TotalTime>
  <Words>151</Words>
  <Application>Microsoft Macintosh PowerPoint</Application>
  <PresentationFormat>Widescreen</PresentationFormat>
  <Paragraphs>39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FangSong</vt:lpstr>
      <vt:lpstr>微软雅黑</vt:lpstr>
      <vt:lpstr>Arial</vt:lpstr>
      <vt:lpstr>Calibri</vt:lpstr>
      <vt:lpstr>公共</vt:lpstr>
      <vt:lpstr>think-cell Slide</vt:lpstr>
      <vt:lpstr>PowerPoint Presentation</vt:lpstr>
      <vt:lpstr>目录</vt:lpstr>
      <vt:lpstr>常见存储模型</vt:lpstr>
      <vt:lpstr>什么是IPFS</vt:lpstr>
      <vt:lpstr>什么是IPFS</vt:lpstr>
      <vt:lpstr>为什么需要IPFS</vt:lpstr>
      <vt:lpstr>内容寻址</vt:lpstr>
      <vt:lpstr>IPFS 如何存储（一）</vt:lpstr>
      <vt:lpstr>IPFS 如何存储（二）</vt:lpstr>
      <vt:lpstr>IPFS 版本管理</vt:lpstr>
      <vt:lpstr>IPFS 激励机制</vt:lpstr>
      <vt:lpstr>PowerPoint Presentation</vt:lpstr>
    </vt:vector>
  </TitlesOfParts>
  <Company>Huawei Technologies Co.,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0</dc:title>
  <dc:creator>Dell</dc:creator>
  <cp:lastModifiedBy>Alvin wang</cp:lastModifiedBy>
  <cp:revision>1889</cp:revision>
  <dcterms:created xsi:type="dcterms:W3CDTF">2015-11-23T07:38:28Z</dcterms:created>
  <dcterms:modified xsi:type="dcterms:W3CDTF">2021-12-25T13:5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  <property fmtid="{D5CDD505-2E9C-101B-9397-08002B2CF9AE}" pid="6" name="_new_ms_pID_72543">
    <vt:lpwstr>(3)2wwNRK9fzKVcBFXegjJzXkTacrt2ydC0LZtNliowbNQo5SvJPFYBSqR4T9vFKi9NcQDDUFaE
zA53ynD5kyF+8UXz+VJ+DJv5fuxGPZ1etQW2fBEvlTcyQ35nqQPDjaKFEO1ImdeFVaC41e8Z
hlch734qaYQPmX8FErNPqHyUQbRSQEcFfCuG7ubo1lJFd/V1hLDYrvnw74hjG67s9CmyR81o
zPBr3sFR1qS25EXd69</vt:lpwstr>
  </property>
  <property fmtid="{D5CDD505-2E9C-101B-9397-08002B2CF9AE}" pid="7" name="_new_ms_pID_725431">
    <vt:lpwstr>GFDngTFE1DbDSnsN4vPKW0DZd0twJQynfhGn7I0keK0wB2xsByTxqv
nZmwz5mVmFvOmPLyL/ZMUZMhOUkM9X2WH8t2LrSG1HYWjDQGkX2VHKqri3DAwDyMU5kYxfK2
foQvLavnh8YFyaCLbkOpvza+j2fRLQbdEEzZkvHdNXhxlp+7SQkeBdBlf3GBdIis22YZhAv4
dzTg2oxaOJafWH2OPSGpd0Hcfw/D8ApLmbW+</vt:lpwstr>
  </property>
  <property fmtid="{D5CDD505-2E9C-101B-9397-08002B2CF9AE}" pid="8" name="_new_ms_pID_725432">
    <vt:lpwstr>t8evuDCqxR/AG/JjMmxJ6P7jNZiABycMIiJ/
oZHIqtJ1ld161eoojQMMF+xWr5XSqxNLJ5KHNAbm7gFbieRNAiMCamjYFroIq/HTrCJ7CwKC
</vt:lpwstr>
  </property>
  <property fmtid="{D5CDD505-2E9C-101B-9397-08002B2CF9AE}" pid="9" name="sflag">
    <vt:lpwstr>1448428356</vt:lpwstr>
  </property>
</Properties>
</file>